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BE9F54-14F9-4F1E-84D1-BAED2E1D3789}" v="54" dt="2023-03-07T23:28:18.88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5ABE9F54-14F9-4F1E-84D1-BAED2E1D3789}"/>
    <pc:docChg chg="addSld delSld modSld">
      <pc:chgData name="Roberto Gallardo" userId="49a044883f185952" providerId="LiveId" clId="{5ABE9F54-14F9-4F1E-84D1-BAED2E1D3789}" dt="2023-03-07T23:28:50.518" v="270" actId="1036"/>
      <pc:docMkLst>
        <pc:docMk/>
      </pc:docMkLst>
      <pc:sldChg chg="del">
        <pc:chgData name="Roberto Gallardo" userId="49a044883f185952" providerId="LiveId" clId="{5ABE9F54-14F9-4F1E-84D1-BAED2E1D3789}" dt="2023-02-25T15:11:15.275" v="46" actId="47"/>
        <pc:sldMkLst>
          <pc:docMk/>
          <pc:sldMk cId="1175010214" sldId="261"/>
        </pc:sldMkLst>
      </pc:sldChg>
      <pc:sldChg chg="addSp modSp mod">
        <pc:chgData name="Roberto Gallardo" userId="49a044883f185952" providerId="LiveId" clId="{5ABE9F54-14F9-4F1E-84D1-BAED2E1D3789}" dt="2023-03-07T23:23:10.263" v="57" actId="1036"/>
        <pc:sldMkLst>
          <pc:docMk/>
          <pc:sldMk cId="1418533539" sldId="271"/>
        </pc:sldMkLst>
        <pc:picChg chg="add mod">
          <ac:chgData name="Roberto Gallardo" userId="49a044883f185952" providerId="LiveId" clId="{5ABE9F54-14F9-4F1E-84D1-BAED2E1D3789}" dt="2023-03-07T23:23:10.263" v="57" actId="1036"/>
          <ac:picMkLst>
            <pc:docMk/>
            <pc:sldMk cId="1418533539" sldId="271"/>
            <ac:picMk id="6" creationId="{50836CAB-EAE8-E41A-FF45-4CA6FE8D557B}"/>
          </ac:picMkLst>
        </pc:picChg>
      </pc:sldChg>
      <pc:sldChg chg="addSp modSp mod">
        <pc:chgData name="Roberto Gallardo" userId="49a044883f185952" providerId="LiveId" clId="{5ABE9F54-14F9-4F1E-84D1-BAED2E1D3789}" dt="2023-03-07T23:24:58.772" v="116" actId="1076"/>
        <pc:sldMkLst>
          <pc:docMk/>
          <pc:sldMk cId="2124848710" sldId="281"/>
        </pc:sldMkLst>
        <pc:picChg chg="add mod">
          <ac:chgData name="Roberto Gallardo" userId="49a044883f185952" providerId="LiveId" clId="{5ABE9F54-14F9-4F1E-84D1-BAED2E1D3789}" dt="2023-03-07T23:24:58.772" v="116" actId="1076"/>
          <ac:picMkLst>
            <pc:docMk/>
            <pc:sldMk cId="2124848710" sldId="281"/>
            <ac:picMk id="6" creationId="{E658C384-1C4F-0E1B-109B-2D2A1CD6A512}"/>
          </ac:picMkLst>
        </pc:picChg>
      </pc:sldChg>
      <pc:sldChg chg="addSp modSp mod">
        <pc:chgData name="Roberto Gallardo" userId="49a044883f185952" providerId="LiveId" clId="{5ABE9F54-14F9-4F1E-84D1-BAED2E1D3789}" dt="2023-03-07T23:25:15.548" v="127" actId="1076"/>
        <pc:sldMkLst>
          <pc:docMk/>
          <pc:sldMk cId="2028175529" sldId="282"/>
        </pc:sldMkLst>
        <pc:picChg chg="add mod">
          <ac:chgData name="Roberto Gallardo" userId="49a044883f185952" providerId="LiveId" clId="{5ABE9F54-14F9-4F1E-84D1-BAED2E1D3789}" dt="2023-03-07T23:25:15.548" v="127" actId="1076"/>
          <ac:picMkLst>
            <pc:docMk/>
            <pc:sldMk cId="2028175529" sldId="282"/>
            <ac:picMk id="7" creationId="{E8203BB5-3C74-17FD-6C4A-9C3E8572A2B2}"/>
          </ac:picMkLst>
        </pc:picChg>
      </pc:sldChg>
      <pc:sldChg chg="addSp modSp mod">
        <pc:chgData name="Roberto Gallardo" userId="49a044883f185952" providerId="LiveId" clId="{5ABE9F54-14F9-4F1E-84D1-BAED2E1D3789}" dt="2023-03-07T23:25:38.581" v="140" actId="1076"/>
        <pc:sldMkLst>
          <pc:docMk/>
          <pc:sldMk cId="1326517747" sldId="283"/>
        </pc:sldMkLst>
        <pc:picChg chg="add mod">
          <ac:chgData name="Roberto Gallardo" userId="49a044883f185952" providerId="LiveId" clId="{5ABE9F54-14F9-4F1E-84D1-BAED2E1D3789}" dt="2023-03-07T23:25:38.581" v="140" actId="1076"/>
          <ac:picMkLst>
            <pc:docMk/>
            <pc:sldMk cId="1326517747" sldId="283"/>
            <ac:picMk id="7" creationId="{48F0DAA7-486B-DABD-6A9C-07B73C9E7DDF}"/>
          </ac:picMkLst>
        </pc:picChg>
      </pc:sldChg>
      <pc:sldChg chg="addSp modSp mod">
        <pc:chgData name="Roberto Gallardo" userId="49a044883f185952" providerId="LiveId" clId="{5ABE9F54-14F9-4F1E-84D1-BAED2E1D3789}" dt="2023-03-07T23:25:54.689" v="150" actId="1076"/>
        <pc:sldMkLst>
          <pc:docMk/>
          <pc:sldMk cId="783739251" sldId="284"/>
        </pc:sldMkLst>
        <pc:picChg chg="add mod">
          <ac:chgData name="Roberto Gallardo" userId="49a044883f185952" providerId="LiveId" clId="{5ABE9F54-14F9-4F1E-84D1-BAED2E1D3789}" dt="2023-03-07T23:25:54.689" v="150" actId="1076"/>
          <ac:picMkLst>
            <pc:docMk/>
            <pc:sldMk cId="783739251" sldId="284"/>
            <ac:picMk id="7" creationId="{B5F9E32F-578A-B35F-4675-DA0B8461752A}"/>
          </ac:picMkLst>
        </pc:picChg>
      </pc:sldChg>
      <pc:sldChg chg="addSp modSp mod">
        <pc:chgData name="Roberto Gallardo" userId="49a044883f185952" providerId="LiveId" clId="{5ABE9F54-14F9-4F1E-84D1-BAED2E1D3789}" dt="2023-03-07T23:26:09" v="160" actId="1076"/>
        <pc:sldMkLst>
          <pc:docMk/>
          <pc:sldMk cId="1676122233" sldId="285"/>
        </pc:sldMkLst>
        <pc:picChg chg="add mod">
          <ac:chgData name="Roberto Gallardo" userId="49a044883f185952" providerId="LiveId" clId="{5ABE9F54-14F9-4F1E-84D1-BAED2E1D3789}" dt="2023-03-07T23:26:09" v="160" actId="1076"/>
          <ac:picMkLst>
            <pc:docMk/>
            <pc:sldMk cId="1676122233" sldId="285"/>
            <ac:picMk id="7" creationId="{23E1F281-2E1E-687C-87D3-A5474AA33D77}"/>
          </ac:picMkLst>
        </pc:picChg>
      </pc:sldChg>
      <pc:sldChg chg="addSp modSp mod">
        <pc:chgData name="Roberto Gallardo" userId="49a044883f185952" providerId="LiveId" clId="{5ABE9F54-14F9-4F1E-84D1-BAED2E1D3789}" dt="2023-03-07T23:26:26.656" v="171" actId="1076"/>
        <pc:sldMkLst>
          <pc:docMk/>
          <pc:sldMk cId="3100398757" sldId="286"/>
        </pc:sldMkLst>
        <pc:picChg chg="add mod">
          <ac:chgData name="Roberto Gallardo" userId="49a044883f185952" providerId="LiveId" clId="{5ABE9F54-14F9-4F1E-84D1-BAED2E1D3789}" dt="2023-03-07T23:26:26.656" v="171" actId="1076"/>
          <ac:picMkLst>
            <pc:docMk/>
            <pc:sldMk cId="3100398757" sldId="286"/>
            <ac:picMk id="7" creationId="{6215DD1C-87BC-CF40-B5CE-51483760E615}"/>
          </ac:picMkLst>
        </pc:picChg>
      </pc:sldChg>
      <pc:sldChg chg="addSp modSp mod">
        <pc:chgData name="Roberto Gallardo" userId="49a044883f185952" providerId="LiveId" clId="{5ABE9F54-14F9-4F1E-84D1-BAED2E1D3789}" dt="2023-03-07T23:26:45.840" v="183" actId="1076"/>
        <pc:sldMkLst>
          <pc:docMk/>
          <pc:sldMk cId="1546475425" sldId="287"/>
        </pc:sldMkLst>
        <pc:picChg chg="add mod">
          <ac:chgData name="Roberto Gallardo" userId="49a044883f185952" providerId="LiveId" clId="{5ABE9F54-14F9-4F1E-84D1-BAED2E1D3789}" dt="2023-03-07T23:26:45.840" v="183" actId="1076"/>
          <ac:picMkLst>
            <pc:docMk/>
            <pc:sldMk cId="1546475425" sldId="287"/>
            <ac:picMk id="7" creationId="{630E63F5-30E5-CB68-7FE7-54E6294459C1}"/>
          </ac:picMkLst>
        </pc:picChg>
      </pc:sldChg>
      <pc:sldChg chg="addSp modSp mod">
        <pc:chgData name="Roberto Gallardo" userId="49a044883f185952" providerId="LiveId" clId="{5ABE9F54-14F9-4F1E-84D1-BAED2E1D3789}" dt="2023-03-07T23:27:21.585" v="205" actId="1076"/>
        <pc:sldMkLst>
          <pc:docMk/>
          <pc:sldMk cId="1380517306" sldId="288"/>
        </pc:sldMkLst>
        <pc:picChg chg="add mod">
          <ac:chgData name="Roberto Gallardo" userId="49a044883f185952" providerId="LiveId" clId="{5ABE9F54-14F9-4F1E-84D1-BAED2E1D3789}" dt="2023-03-07T23:27:21.585" v="205" actId="1076"/>
          <ac:picMkLst>
            <pc:docMk/>
            <pc:sldMk cId="1380517306" sldId="288"/>
            <ac:picMk id="7" creationId="{FA468CB9-FA28-7ED7-F7C0-D802C465C30E}"/>
          </ac:picMkLst>
        </pc:picChg>
      </pc:sldChg>
      <pc:sldChg chg="addSp modSp mod">
        <pc:chgData name="Roberto Gallardo" userId="49a044883f185952" providerId="LiveId" clId="{5ABE9F54-14F9-4F1E-84D1-BAED2E1D3789}" dt="2023-03-07T23:27:41.004" v="218" actId="1076"/>
        <pc:sldMkLst>
          <pc:docMk/>
          <pc:sldMk cId="1388671151" sldId="289"/>
        </pc:sldMkLst>
        <pc:picChg chg="add mod">
          <ac:chgData name="Roberto Gallardo" userId="49a044883f185952" providerId="LiveId" clId="{5ABE9F54-14F9-4F1E-84D1-BAED2E1D3789}" dt="2023-03-07T23:27:41.004" v="218" actId="1076"/>
          <ac:picMkLst>
            <pc:docMk/>
            <pc:sldMk cId="1388671151" sldId="289"/>
            <ac:picMk id="7" creationId="{5BBC10A9-3F20-9CCD-8600-5F5EE86FF1D4}"/>
          </ac:picMkLst>
        </pc:picChg>
      </pc:sldChg>
      <pc:sldChg chg="addSp modSp mod">
        <pc:chgData name="Roberto Gallardo" userId="49a044883f185952" providerId="LiveId" clId="{5ABE9F54-14F9-4F1E-84D1-BAED2E1D3789}" dt="2023-03-07T23:28:12.676" v="237" actId="1076"/>
        <pc:sldMkLst>
          <pc:docMk/>
          <pc:sldMk cId="2355376039" sldId="290"/>
        </pc:sldMkLst>
        <pc:picChg chg="add mod">
          <ac:chgData name="Roberto Gallardo" userId="49a044883f185952" providerId="LiveId" clId="{5ABE9F54-14F9-4F1E-84D1-BAED2E1D3789}" dt="2023-03-07T23:28:12.676" v="237" actId="1076"/>
          <ac:picMkLst>
            <pc:docMk/>
            <pc:sldMk cId="2355376039" sldId="290"/>
            <ac:picMk id="8" creationId="{D0E19408-87F2-4E00-B916-17746948F4CB}"/>
          </ac:picMkLst>
        </pc:picChg>
      </pc:sldChg>
      <pc:sldChg chg="addSp modSp mod">
        <pc:chgData name="Roberto Gallardo" userId="49a044883f185952" providerId="LiveId" clId="{5ABE9F54-14F9-4F1E-84D1-BAED2E1D3789}" dt="2023-03-07T23:28:50.518" v="270" actId="1036"/>
        <pc:sldMkLst>
          <pc:docMk/>
          <pc:sldMk cId="3757257295" sldId="291"/>
        </pc:sldMkLst>
        <pc:picChg chg="add mod">
          <ac:chgData name="Roberto Gallardo" userId="49a044883f185952" providerId="LiveId" clId="{5ABE9F54-14F9-4F1E-84D1-BAED2E1D3789}" dt="2023-03-07T23:28:50.518" v="270" actId="1036"/>
          <ac:picMkLst>
            <pc:docMk/>
            <pc:sldMk cId="3757257295" sldId="291"/>
            <ac:picMk id="8" creationId="{631C4493-D688-A422-55B1-93D67905C016}"/>
          </ac:picMkLst>
        </pc:picChg>
      </pc:sldChg>
      <pc:sldChg chg="addSp modSp mod">
        <pc:chgData name="Roberto Gallardo" userId="49a044883f185952" providerId="LiveId" clId="{5ABE9F54-14F9-4F1E-84D1-BAED2E1D3789}" dt="2023-03-07T23:27:02.986" v="193" actId="1076"/>
        <pc:sldMkLst>
          <pc:docMk/>
          <pc:sldMk cId="1259856727" sldId="292"/>
        </pc:sldMkLst>
        <pc:picChg chg="add mod">
          <ac:chgData name="Roberto Gallardo" userId="49a044883f185952" providerId="LiveId" clId="{5ABE9F54-14F9-4F1E-84D1-BAED2E1D3789}" dt="2023-03-07T23:27:02.986" v="193" actId="1076"/>
          <ac:picMkLst>
            <pc:docMk/>
            <pc:sldMk cId="1259856727" sldId="292"/>
            <ac:picMk id="7" creationId="{17E378A1-2D09-24AD-3712-869D837CD864}"/>
          </ac:picMkLst>
        </pc:picChg>
      </pc:sldChg>
      <pc:sldChg chg="addSp modSp mod">
        <pc:chgData name="Roberto Gallardo" userId="49a044883f185952" providerId="LiveId" clId="{5ABE9F54-14F9-4F1E-84D1-BAED2E1D3789}" dt="2023-03-07T23:24:43.981" v="107" actId="1076"/>
        <pc:sldMkLst>
          <pc:docMk/>
          <pc:sldMk cId="3324519687" sldId="293"/>
        </pc:sldMkLst>
        <pc:picChg chg="add mod">
          <ac:chgData name="Roberto Gallardo" userId="49a044883f185952" providerId="LiveId" clId="{5ABE9F54-14F9-4F1E-84D1-BAED2E1D3789}" dt="2023-03-07T23:24:43.981" v="107" actId="1076"/>
          <ac:picMkLst>
            <pc:docMk/>
            <pc:sldMk cId="3324519687" sldId="293"/>
            <ac:picMk id="7" creationId="{2071B42D-9FE6-9179-1215-80F13C1D199B}"/>
          </ac:picMkLst>
        </pc:picChg>
      </pc:sldChg>
      <pc:sldChg chg="addSp modSp mod">
        <pc:chgData name="Roberto Gallardo" userId="49a044883f185952" providerId="LiveId" clId="{5ABE9F54-14F9-4F1E-84D1-BAED2E1D3789}" dt="2023-03-07T23:24:04.273" v="86" actId="1076"/>
        <pc:sldMkLst>
          <pc:docMk/>
          <pc:sldMk cId="3256182630" sldId="295"/>
        </pc:sldMkLst>
        <pc:picChg chg="add mod">
          <ac:chgData name="Roberto Gallardo" userId="49a044883f185952" providerId="LiveId" clId="{5ABE9F54-14F9-4F1E-84D1-BAED2E1D3789}" dt="2023-03-07T23:24:04.273" v="86" actId="1076"/>
          <ac:picMkLst>
            <pc:docMk/>
            <pc:sldMk cId="3256182630" sldId="295"/>
            <ac:picMk id="7" creationId="{33844DCB-FF6A-D81E-53F3-B1A8D78D0C8A}"/>
          </ac:picMkLst>
        </pc:picChg>
      </pc:sldChg>
      <pc:sldChg chg="addSp modSp mod">
        <pc:chgData name="Roberto Gallardo" userId="49a044883f185952" providerId="LiveId" clId="{5ABE9F54-14F9-4F1E-84D1-BAED2E1D3789}" dt="2023-03-07T23:24:27.845" v="97" actId="1076"/>
        <pc:sldMkLst>
          <pc:docMk/>
          <pc:sldMk cId="4057156843" sldId="296"/>
        </pc:sldMkLst>
        <pc:picChg chg="add mod">
          <ac:chgData name="Roberto Gallardo" userId="49a044883f185952" providerId="LiveId" clId="{5ABE9F54-14F9-4F1E-84D1-BAED2E1D3789}" dt="2023-03-07T23:24:27.845" v="97" actId="1076"/>
          <ac:picMkLst>
            <pc:docMk/>
            <pc:sldMk cId="4057156843" sldId="296"/>
            <ac:picMk id="7" creationId="{2A7674FF-F062-B1E1-6EE5-8DD0895800BD}"/>
          </ac:picMkLst>
        </pc:picChg>
      </pc:sldChg>
      <pc:sldChg chg="addSp modSp mod">
        <pc:chgData name="Roberto Gallardo" userId="49a044883f185952" providerId="LiveId" clId="{5ABE9F54-14F9-4F1E-84D1-BAED2E1D3789}" dt="2023-03-07T23:23:46.841" v="77" actId="1076"/>
        <pc:sldMkLst>
          <pc:docMk/>
          <pc:sldMk cId="2080110827" sldId="297"/>
        </pc:sldMkLst>
        <pc:picChg chg="add mod">
          <ac:chgData name="Roberto Gallardo" userId="49a044883f185952" providerId="LiveId" clId="{5ABE9F54-14F9-4F1E-84D1-BAED2E1D3789}" dt="2023-03-07T23:23:46.841" v="77" actId="1076"/>
          <ac:picMkLst>
            <pc:docMk/>
            <pc:sldMk cId="2080110827" sldId="297"/>
            <ac:picMk id="6" creationId="{458F1A01-E961-7CEA-9BA1-AF1ADEFA9B77}"/>
          </ac:picMkLst>
        </pc:picChg>
      </pc:sldChg>
      <pc:sldChg chg="addSp modSp mod">
        <pc:chgData name="Roberto Gallardo" userId="49a044883f185952" providerId="LiveId" clId="{5ABE9F54-14F9-4F1E-84D1-BAED2E1D3789}" dt="2023-03-07T23:23:31.118" v="69" actId="1035"/>
        <pc:sldMkLst>
          <pc:docMk/>
          <pc:sldMk cId="1532666867" sldId="298"/>
        </pc:sldMkLst>
        <pc:picChg chg="add mod">
          <ac:chgData name="Roberto Gallardo" userId="49a044883f185952" providerId="LiveId" clId="{5ABE9F54-14F9-4F1E-84D1-BAED2E1D3789}" dt="2023-03-07T23:23:31.118" v="69" actId="1035"/>
          <ac:picMkLst>
            <pc:docMk/>
            <pc:sldMk cId="1532666867" sldId="298"/>
            <ac:picMk id="6" creationId="{3115E033-F02F-6A43-53F7-BE3F44B0B028}"/>
          </ac:picMkLst>
        </pc:picChg>
      </pc:sldChg>
      <pc:sldChg chg="addSp modSp mod">
        <pc:chgData name="Roberto Gallardo" userId="49a044883f185952" providerId="LiveId" clId="{5ABE9F54-14F9-4F1E-84D1-BAED2E1D3789}" dt="2023-03-07T23:27:55.909" v="227" actId="1076"/>
        <pc:sldMkLst>
          <pc:docMk/>
          <pc:sldMk cId="1951376777" sldId="299"/>
        </pc:sldMkLst>
        <pc:picChg chg="add mod">
          <ac:chgData name="Roberto Gallardo" userId="49a044883f185952" providerId="LiveId" clId="{5ABE9F54-14F9-4F1E-84D1-BAED2E1D3789}" dt="2023-03-07T23:27:55.909" v="227" actId="1076"/>
          <ac:picMkLst>
            <pc:docMk/>
            <pc:sldMk cId="1951376777" sldId="299"/>
            <ac:picMk id="7" creationId="{21BE00FC-3FB5-3563-B1C9-B0BE9BFB34FF}"/>
          </ac:picMkLst>
        </pc:picChg>
      </pc:sldChg>
      <pc:sldChg chg="del">
        <pc:chgData name="Roberto Gallardo" userId="49a044883f185952" providerId="LiveId" clId="{5ABE9F54-14F9-4F1E-84D1-BAED2E1D3789}" dt="2023-02-25T15:11:15.275" v="46" actId="47"/>
        <pc:sldMkLst>
          <pc:docMk/>
          <pc:sldMk cId="2841628872" sldId="303"/>
        </pc:sldMkLst>
      </pc:sldChg>
      <pc:sldChg chg="del">
        <pc:chgData name="Roberto Gallardo" userId="49a044883f185952" providerId="LiveId" clId="{5ABE9F54-14F9-4F1E-84D1-BAED2E1D3789}" dt="2023-02-25T15:11:15.275" v="46" actId="47"/>
        <pc:sldMkLst>
          <pc:docMk/>
          <pc:sldMk cId="3084076302" sldId="304"/>
        </pc:sldMkLst>
      </pc:sldChg>
      <pc:sldChg chg="del">
        <pc:chgData name="Roberto Gallardo" userId="49a044883f185952" providerId="LiveId" clId="{5ABE9F54-14F9-4F1E-84D1-BAED2E1D3789}" dt="2023-02-25T15:11:15.275" v="46" actId="47"/>
        <pc:sldMkLst>
          <pc:docMk/>
          <pc:sldMk cId="473712435" sldId="305"/>
        </pc:sldMkLst>
      </pc:sldChg>
      <pc:sldChg chg="modSp mod">
        <pc:chgData name="Roberto Gallardo" userId="49a044883f185952" providerId="LiveId" clId="{5ABE9F54-14F9-4F1E-84D1-BAED2E1D3789}" dt="2023-02-25T13:32:11.267" v="44" actId="14100"/>
        <pc:sldMkLst>
          <pc:docMk/>
          <pc:sldMk cId="2366022307" sldId="306"/>
        </pc:sldMkLst>
        <pc:spChg chg="mod">
          <ac:chgData name="Roberto Gallardo" userId="49a044883f185952" providerId="LiveId" clId="{5ABE9F54-14F9-4F1E-84D1-BAED2E1D3789}" dt="2023-02-25T13:31:56.487" v="28" actId="1036"/>
          <ac:spMkLst>
            <pc:docMk/>
            <pc:sldMk cId="2366022307" sldId="306"/>
            <ac:spMk id="11" creationId="{09F5AE19-B4E3-7788-F25F-CDA80D596DAF}"/>
          </ac:spMkLst>
        </pc:spChg>
        <pc:grpChg chg="mod">
          <ac:chgData name="Roberto Gallardo" userId="49a044883f185952" providerId="LiveId" clId="{5ABE9F54-14F9-4F1E-84D1-BAED2E1D3789}" dt="2023-02-25T13:31:50.438" v="15" actId="1035"/>
          <ac:grpSpMkLst>
            <pc:docMk/>
            <pc:sldMk cId="2366022307" sldId="306"/>
            <ac:grpSpMk id="6" creationId="{4BC0EAD3-A621-359E-F822-1BC272A15D80}"/>
          </ac:grpSpMkLst>
        </pc:grpChg>
        <pc:cxnChg chg="mod">
          <ac:chgData name="Roberto Gallardo" userId="49a044883f185952" providerId="LiveId" clId="{5ABE9F54-14F9-4F1E-84D1-BAED2E1D3789}" dt="2023-02-25T13:32:01.439" v="42" actId="1036"/>
          <ac:cxnSpMkLst>
            <pc:docMk/>
            <pc:sldMk cId="2366022307" sldId="306"/>
            <ac:cxnSpMk id="27" creationId="{F0CF8142-8895-D0A8-A662-E40568742508}"/>
          </ac:cxnSpMkLst>
        </pc:cxnChg>
        <pc:cxnChg chg="mod">
          <ac:chgData name="Roberto Gallardo" userId="49a044883f185952" providerId="LiveId" clId="{5ABE9F54-14F9-4F1E-84D1-BAED2E1D3789}" dt="2023-02-25T13:32:11.267" v="44" actId="14100"/>
          <ac:cxnSpMkLst>
            <pc:docMk/>
            <pc:sldMk cId="2366022307" sldId="306"/>
            <ac:cxnSpMk id="28" creationId="{15C28C80-F0E1-159F-F103-CEA53436F6F9}"/>
          </ac:cxnSpMkLst>
        </pc:cxnChg>
        <pc:cxnChg chg="mod">
          <ac:chgData name="Roberto Gallardo" userId="49a044883f185952" providerId="LiveId" clId="{5ABE9F54-14F9-4F1E-84D1-BAED2E1D3789}" dt="2023-02-25T13:32:07.508" v="43" actId="14100"/>
          <ac:cxnSpMkLst>
            <pc:docMk/>
            <pc:sldMk cId="2366022307" sldId="306"/>
            <ac:cxnSpMk id="29" creationId="{783CFD35-8D28-EF95-B783-8C1E52BEC855}"/>
          </ac:cxnSpMkLst>
        </pc:cxnChg>
      </pc:sldChg>
      <pc:sldChg chg="add">
        <pc:chgData name="Roberto Gallardo" userId="49a044883f185952" providerId="LiveId" clId="{5ABE9F54-14F9-4F1E-84D1-BAED2E1D3789}" dt="2023-02-25T15:11:12.066" v="45"/>
        <pc:sldMkLst>
          <pc:docMk/>
          <pc:sldMk cId="1679930921" sldId="307"/>
        </pc:sldMkLst>
      </pc:sldChg>
      <pc:sldChg chg="add">
        <pc:chgData name="Roberto Gallardo" userId="49a044883f185952" providerId="LiveId" clId="{5ABE9F54-14F9-4F1E-84D1-BAED2E1D3789}" dt="2023-02-25T15:11:12.066" v="45"/>
        <pc:sldMkLst>
          <pc:docMk/>
          <pc:sldMk cId="4284659115" sldId="308"/>
        </pc:sldMkLst>
      </pc:sldChg>
      <pc:sldChg chg="add">
        <pc:chgData name="Roberto Gallardo" userId="49a044883f185952" providerId="LiveId" clId="{5ABE9F54-14F9-4F1E-84D1-BAED2E1D3789}" dt="2023-02-25T15:11:12.066" v="45"/>
        <pc:sldMkLst>
          <pc:docMk/>
          <pc:sldMk cId="2547060327" sldId="309"/>
        </pc:sldMkLst>
      </pc:sldChg>
      <pc:sldChg chg="add">
        <pc:chgData name="Roberto Gallardo" userId="49a044883f185952" providerId="LiveId" clId="{5ABE9F54-14F9-4F1E-84D1-BAED2E1D3789}" dt="2023-02-25T15:11:12.066" v="45"/>
        <pc:sldMkLst>
          <pc:docMk/>
          <pc:sldMk cId="3499528088"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Wilkes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BB7CA30-BF09-03D9-4113-3BA4D4803480}"/>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25470603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D16F4894-86EB-FE69-95B7-62D967820ED4}"/>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34995280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50836CAB-EAE8-E41A-FF45-4CA6FE8D55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2602"/>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3115E033-F02F-6A43-53F7-BE3F44B0B02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32198"/>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schematic, map&#10;&#10;Description automatically generated">
            <a:extLst>
              <a:ext uri="{FF2B5EF4-FFF2-40B4-BE49-F238E27FC236}">
                <a16:creationId xmlns:a16="http://schemas.microsoft.com/office/drawing/2014/main" id="{458F1A01-E961-7CEA-9BA1-AF1ADEFA9B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2846"/>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C6BDADD-918D-70ED-55E6-63DD4C744434}"/>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Schematic, map&#10;&#10;Description automatically generated">
            <a:extLst>
              <a:ext uri="{FF2B5EF4-FFF2-40B4-BE49-F238E27FC236}">
                <a16:creationId xmlns:a16="http://schemas.microsoft.com/office/drawing/2014/main" id="{33844DCB-FF6A-D81E-53F3-B1A8D78D0C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5" y="1415052"/>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4C67C0D1-465D-A369-1E40-68643CD41073}"/>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Diagram, map&#10;&#10;Description automatically generated">
            <a:extLst>
              <a:ext uri="{FF2B5EF4-FFF2-40B4-BE49-F238E27FC236}">
                <a16:creationId xmlns:a16="http://schemas.microsoft.com/office/drawing/2014/main" id="{2A7674FF-F062-B1E1-6EE5-8DD0895800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41"/>
            <a:ext cx="6403975" cy="4528617"/>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7F39FC10-4725-C1E6-C300-28D2274E832C}"/>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2071B42D-9FE6-9179-1215-80F13C1D19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7B04D3BF-495F-17E7-3AEE-7AF840FA6D4D}"/>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E658C384-1C4F-0E1B-109B-2D2A1CD6A5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6" y="1412670"/>
            <a:ext cx="6400799"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2A5D1A45-0548-A31A-22F5-89AF1C9FAA50}"/>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E8203BB5-3C74-17FD-6C4A-9C3E8572A2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8BD869F2-ADEA-EA43-5056-93CB09D5181B}"/>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48F0DAA7-486B-DABD-6A9C-07B73C9E7DD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2825" y="1401631"/>
            <a:ext cx="6400801"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F0F5D8AB-2EF1-1521-C793-C6560EA64D60}"/>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B5F9E32F-578A-B35F-4675-DA0B846175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5917"/>
            <a:ext cx="6400800"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49C99EAA-45F4-53A3-13E0-FF81084DDA1C}"/>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23E1F281-2E1E-687C-87D3-A5474AA33D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881" y="1408701"/>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6BA8D43C-5FC4-90D2-9386-46AD8B421D22}"/>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6215DD1C-87BC-CF40-B5CE-51483760E6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2122"/>
            <a:ext cx="6400800" cy="4526372"/>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A514BFB4-3E08-73D9-E9B1-91FDB3AF8302}"/>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630E63F5-30E5-CB68-7FE7-54E6294459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7"/>
            <a:ext cx="6400800"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F672E1D8-586D-A8D4-9570-FBA523575A1D}"/>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17E378A1-2D09-24AD-3712-869D837CD8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0119" y="1411811"/>
            <a:ext cx="6399481" cy="4525438"/>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1CC3A028-20AC-AB27-2FE5-7322766F5CA5}"/>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A468CB9-FA28-7ED7-F7C0-D802C465C3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402"/>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523D3E3E-15F0-81F4-DC24-467C6AE4CA93}"/>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 map&#10;&#10;Description automatically generated">
            <a:extLst>
              <a:ext uri="{FF2B5EF4-FFF2-40B4-BE49-F238E27FC236}">
                <a16:creationId xmlns:a16="http://schemas.microsoft.com/office/drawing/2014/main" id="{5BBC10A9-3F20-9CCD-8600-5F5EE86FF1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407"/>
            <a:ext cx="6400801"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1BF44A2E-4453-717A-315A-B20CB1FC0F4D}"/>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Diagram, schematic, map&#10;&#10;Description automatically generated">
            <a:extLst>
              <a:ext uri="{FF2B5EF4-FFF2-40B4-BE49-F238E27FC236}">
                <a16:creationId xmlns:a16="http://schemas.microsoft.com/office/drawing/2014/main" id="{21BE00FC-3FB5-3563-B1C9-B0BE9BFB34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247"/>
            <a:ext cx="6400800"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A1B39991-29F9-BC06-DAAE-4A7366393D6E}"/>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Diagram, schematic, map&#10;&#10;Description automatically generated">
            <a:extLst>
              <a:ext uri="{FF2B5EF4-FFF2-40B4-BE49-F238E27FC236}">
                <a16:creationId xmlns:a16="http://schemas.microsoft.com/office/drawing/2014/main" id="{D0E19408-87F2-4E00-B916-17746948F4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027"/>
            <a:ext cx="6401138" cy="452661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CE2E54E0-0D85-1F63-596E-051127BB43AD}"/>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8234E0A9-1549-8857-CBE6-CECF8598DD50}"/>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631C4493-D688-A422-55B1-93D67905C0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279"/>
            <a:ext cx="6421230" cy="4540817"/>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9BAE0DD9-4F03-AC40-A205-945827889583}"/>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0AD8C51-BB98-105D-02A3-E53EC9826C4E}"/>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0AD1978-F0EB-75B7-2DA7-300D525B96A6}"/>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83452" y="2499368"/>
            <a:ext cx="1198148" cy="2224038"/>
            <a:chOff x="10485745" y="2657562"/>
            <a:chExt cx="1198148" cy="222403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35080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4</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65756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657562"/>
              <a:ext cx="0" cy="6932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243361"/>
              <a:ext cx="0" cy="63823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334089"/>
            <a:ext cx="1198148" cy="2267202"/>
            <a:chOff x="2775759" y="2224808"/>
            <a:chExt cx="1198148" cy="2267202"/>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610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22480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224808"/>
              <a:ext cx="0" cy="73619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53553"/>
              <a:ext cx="0" cy="6384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0ADA567D-3577-4625-A477-71D406188353}"/>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7A87897F-3FA6-9D5F-AE0D-E35E0B255879}"/>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89783397-F154-7100-FA17-2671D8655DF1}"/>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EE87F340-ACAC-398E-BFAC-D30219573496}"/>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89F4FD79-DC2A-11C4-7C12-41FFD6BE6ED4}"/>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F1369DBA-5965-0659-F330-E7859BBE6AD5}"/>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6E67B6E0-E74C-FB75-EDD1-3574C11C74A1}"/>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16799309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2063C724-305F-E8A9-C963-CBDB2E3DD5A4}"/>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42846591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56</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03</cp:revision>
  <dcterms:created xsi:type="dcterms:W3CDTF">2022-07-04T13:32:28Z</dcterms:created>
  <dcterms:modified xsi:type="dcterms:W3CDTF">2023-03-07T23:28:56Z</dcterms:modified>
</cp:coreProperties>
</file>